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94" r:id="rId2"/>
    <p:sldId id="295" r:id="rId3"/>
    <p:sldId id="297" r:id="rId4"/>
    <p:sldId id="298" r:id="rId5"/>
    <p:sldId id="291" r:id="rId6"/>
    <p:sldId id="284" r:id="rId7"/>
    <p:sldId id="274" r:id="rId8"/>
  </p:sldIdLst>
  <p:sldSz cx="9144000" cy="6858000" type="screen4x3"/>
  <p:notesSz cx="6797675" cy="9872663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66"/>
    <a:srgbClr val="66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06799F8-075E-4A3A-A7F6-7FBC6576F1A4}" styleName="Tema Uygulanmış Stil 2 - Vurgu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FD0F851-EC5A-4D38-B0AD-8093EC10F338}" styleName="Açık Stil 1 - Vurgu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Orta Stil 2 - Vurgu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03447BB-5D67-496B-8E87-E561075AD55C}" styleName="Koyu Stil 1 - Vurgu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Koyu Stil 1 - Vurgu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Koyu Stil 1 - Vurgu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9631B5-78F2-41C9-869B-9F39066F8104}" styleName="Orta Stil 3 - Vurgu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7AC3CCA-C797-4891-BE02-D94E43425B78}" styleName="Orta Stil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Orta Stil 4 - Vurgu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940675A-B579-460E-94D1-54222C63F5DA}" styleName="Stil Yok, Tablo Kılavuz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til Yok, Kılavuz Yok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Açık Sti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7670" autoAdjust="0"/>
  </p:normalViewPr>
  <p:slideViewPr>
    <p:cSldViewPr>
      <p:cViewPr varScale="1">
        <p:scale>
          <a:sx n="87" d="100"/>
          <a:sy n="87" d="100"/>
        </p:scale>
        <p:origin x="1092" y="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60" cy="495348"/>
          </a:xfrm>
          <a:prstGeom prst="rect">
            <a:avLst/>
          </a:prstGeom>
        </p:spPr>
        <p:txBody>
          <a:bodyPr vert="horz" lIns="91166" tIns="45583" rIns="91166" bIns="45583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60" cy="495348"/>
          </a:xfrm>
          <a:prstGeom prst="rect">
            <a:avLst/>
          </a:prstGeom>
        </p:spPr>
        <p:txBody>
          <a:bodyPr vert="horz" lIns="91166" tIns="45583" rIns="91166" bIns="45583" rtlCol="0"/>
          <a:lstStyle>
            <a:lvl1pPr algn="r">
              <a:defRPr sz="1200"/>
            </a:lvl1pPr>
          </a:lstStyle>
          <a:p>
            <a:fld id="{E97D8D04-8981-4AE4-B55B-41189C458C08}" type="datetimeFigureOut">
              <a:rPr lang="tr-TR" smtClean="0"/>
              <a:pPr/>
              <a:t>2.09.2022</a:t>
            </a:fld>
            <a:endParaRPr lang="tr-TR"/>
          </a:p>
        </p:txBody>
      </p:sp>
      <p:sp>
        <p:nvSpPr>
          <p:cNvPr id="4" name="Slayt Görüntüsü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1177925" y="1233488"/>
            <a:ext cx="444182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166" tIns="45583" rIns="91166" bIns="45583" rtlCol="0" anchor="ctr"/>
          <a:lstStyle/>
          <a:p>
            <a:endParaRPr lang="tr-TR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79768" y="4751218"/>
            <a:ext cx="5438140" cy="3887362"/>
          </a:xfrm>
          <a:prstGeom prst="rect">
            <a:avLst/>
          </a:prstGeom>
        </p:spPr>
        <p:txBody>
          <a:bodyPr vert="horz" lIns="91166" tIns="45583" rIns="91166" bIns="45583" rtlCol="0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4"/>
          </p:nvPr>
        </p:nvSpPr>
        <p:spPr>
          <a:xfrm>
            <a:off x="0" y="9377318"/>
            <a:ext cx="2945660" cy="495347"/>
          </a:xfrm>
          <a:prstGeom prst="rect">
            <a:avLst/>
          </a:prstGeom>
        </p:spPr>
        <p:txBody>
          <a:bodyPr vert="horz" lIns="91166" tIns="45583" rIns="91166" bIns="45583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50443" y="9377318"/>
            <a:ext cx="2945660" cy="495347"/>
          </a:xfrm>
          <a:prstGeom prst="rect">
            <a:avLst/>
          </a:prstGeom>
        </p:spPr>
        <p:txBody>
          <a:bodyPr vert="horz" lIns="91166" tIns="45583" rIns="91166" bIns="45583" rtlCol="0" anchor="b"/>
          <a:lstStyle>
            <a:lvl1pPr algn="r">
              <a:defRPr sz="1200"/>
            </a:lvl1pPr>
          </a:lstStyle>
          <a:p>
            <a:fld id="{E7A174EC-FB91-48F8-B92F-CDCA85A4AB9F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85299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A174EC-FB91-48F8-B92F-CDCA85A4AB9F}" type="slidenum">
              <a:rPr lang="tr-TR" smtClean="0"/>
              <a:pPr/>
              <a:t>2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215852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A174EC-FB91-48F8-B92F-CDCA85A4AB9F}" type="slidenum">
              <a:rPr lang="tr-TR" smtClean="0"/>
              <a:pPr/>
              <a:t>4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7120312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Alt Başlık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r-TR" smtClean="0"/>
              <a:t>Asıl alt başlık stilini düzenlemek için tıklatın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.09.2022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2834502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.09.2022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5444906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.09.2022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828177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.09.2022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7228264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.09.2022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801711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.09.2022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54272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Metin Yer Tutucus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6" name="İçerik Yer Tutucus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7" name="Veri Yer Tutucusu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.09.2022</a:t>
            </a:fld>
            <a:endParaRPr lang="tr-TR"/>
          </a:p>
        </p:txBody>
      </p:sp>
      <p:sp>
        <p:nvSpPr>
          <p:cNvPr id="8" name="Altbilgi Yer Tutucusu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ayt Numarası Yer Tutucus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9915932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.09.2022</a:t>
            </a:fld>
            <a:endParaRPr lang="tr-TR"/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35641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i Yer Tutucusu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.09.2022</a:t>
            </a:fld>
            <a:endParaRPr lang="tr-TR"/>
          </a:p>
        </p:txBody>
      </p:sp>
      <p:sp>
        <p:nvSpPr>
          <p:cNvPr id="3" name="Altbilgi Yer Tutucus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956051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.09.2022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643516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Resim Yer Tutucus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.09.2022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3123805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Yer Tutucusu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809FF9-1140-4B00-BC12-214F505C40B3}" type="datetimeFigureOut">
              <a:rPr lang="tr-TR" smtClean="0"/>
              <a:pPr/>
              <a:t>2.09.2022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625118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gif"/><Relationship Id="rId3" Type="http://schemas.openxmlformats.org/officeDocument/2006/relationships/tags" Target="../tags/tag3.xml"/><Relationship Id="rId7" Type="http://schemas.openxmlformats.org/officeDocument/2006/relationships/image" Target="../media/image1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-540567" y="116632"/>
            <a:ext cx="9684568" cy="1472259"/>
            <a:chOff x="1199957" y="162167"/>
            <a:chExt cx="7699376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626382" y="182985"/>
              <a:ext cx="1001713" cy="638175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87333" y="232991"/>
              <a:ext cx="7045325" cy="538162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199957" y="360604"/>
              <a:ext cx="7632700" cy="2913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877888">
                <a:buClr>
                  <a:srgbClr val="FF6600"/>
                </a:buClr>
                <a:defRPr/>
              </a:pPr>
              <a:r>
                <a:rPr lang="tr-TR" sz="2000" b="1" kern="0" dirty="0" smtClean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.C.</a:t>
              </a:r>
            </a:p>
            <a:p>
              <a:pPr algn="ctr" defTabSz="877888">
                <a:buClr>
                  <a:srgbClr val="FF6600"/>
                </a:buClr>
                <a:defRPr/>
              </a:pPr>
              <a:r>
                <a:rPr lang="tr-TR" sz="2000" b="1" kern="0" dirty="0" smtClean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OSMANİYE VALİLİĞİ</a:t>
              </a:r>
              <a:endParaRPr lang="en-US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Metin kutusu 10"/>
          <p:cNvSpPr txBox="1"/>
          <p:nvPr/>
        </p:nvSpPr>
        <p:spPr>
          <a:xfrm>
            <a:off x="33431" y="2489339"/>
            <a:ext cx="895731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36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KURUM ADI </a:t>
            </a:r>
          </a:p>
          <a:p>
            <a:pPr algn="ctr"/>
            <a:r>
              <a:rPr lang="tr-TR" sz="36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(ve varsa LOGO)</a:t>
            </a:r>
          </a:p>
          <a:p>
            <a:pPr algn="ctr"/>
            <a:endParaRPr lang="tr-TR" sz="3600" b="1" dirty="0" smtClean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pPr algn="ctr"/>
            <a:r>
              <a:rPr lang="tr-TR" sz="36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İL KOORDİNASYON KURULU</a:t>
            </a:r>
          </a:p>
          <a:p>
            <a:pPr algn="ctr"/>
            <a:r>
              <a:rPr lang="tr-TR" sz="36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IV’ÜNCÜ </a:t>
            </a:r>
            <a:r>
              <a:rPr lang="tr-TR" sz="36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TOPLANTISI        </a:t>
            </a:r>
          </a:p>
          <a:p>
            <a:pPr algn="ctr"/>
            <a:r>
              <a:rPr lang="tr-TR" sz="36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06  EKİM 2022 </a:t>
            </a:r>
            <a:endParaRPr lang="tr-TR" sz="3600" b="1" dirty="0" smtClean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pPr algn="ctr"/>
            <a:r>
              <a:rPr lang="tr-TR" sz="36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PERŞEMBE</a:t>
            </a:r>
            <a:endParaRPr lang="tr-TR" sz="36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257" y="270116"/>
            <a:ext cx="1142530" cy="1142113"/>
          </a:xfrm>
          <a:prstGeom prst="rect">
            <a:avLst/>
          </a:prstGeom>
        </p:spPr>
      </p:pic>
      <p:pic>
        <p:nvPicPr>
          <p:cNvPr id="14" name="Resim 1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076" y="215070"/>
            <a:ext cx="1286782" cy="1286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066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241537" y="380260"/>
            <a:ext cx="6438900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77888">
              <a:buClr>
                <a:srgbClr val="FF6600"/>
              </a:buClr>
              <a:defRPr/>
            </a:pPr>
            <a:endParaRPr lang="en-US" sz="2000" b="1" kern="0" dirty="0">
              <a:solidFill>
                <a:srgbClr val="FFFFFF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0" name="Tablo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9415179"/>
              </p:ext>
            </p:extLst>
          </p:nvPr>
        </p:nvGraphicFramePr>
        <p:xfrm>
          <a:off x="51891" y="836712"/>
          <a:ext cx="9092108" cy="5190675"/>
        </p:xfrm>
        <a:graphic>
          <a:graphicData uri="http://schemas.openxmlformats.org/drawingml/2006/table">
            <a:tbl>
              <a:tblPr>
                <a:tableStyleId>{D03447BB-5D67-496B-8E87-E561075AD55C}</a:tableStyleId>
              </a:tblPr>
              <a:tblGrid>
                <a:gridCol w="37878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69815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4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</a:t>
                      </a:r>
                      <a:r>
                        <a:rPr lang="tr-TR" sz="1400" b="1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..  </a:t>
                      </a:r>
                      <a:r>
                        <a:rPr lang="tr-TR" sz="14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ölge/İl</a:t>
                      </a:r>
                      <a:r>
                        <a:rPr lang="tr-TR" sz="1400" b="1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4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Müdürlüğü</a:t>
                      </a:r>
                      <a:r>
                        <a:rPr lang="tr-TR" sz="120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r" fontAlgn="t"/>
                      <a:endParaRPr lang="tr-TR" sz="1100" b="0" i="0" u="none" strike="noStrike" dirty="0">
                        <a:solidFill>
                          <a:srgbClr val="FF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ctr"/>
                      <a:r>
                        <a:rPr lang="tr-TR" sz="110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ı-1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</a:t>
                      </a:r>
                      <a:r>
                        <a:rPr lang="tr-TR" sz="1100" b="1" u="none" strike="noStrike" kern="1200" baseline="0" dirty="0" smtClean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adı-2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</a:t>
                      </a:r>
                      <a:r>
                        <a:rPr lang="tr-TR" sz="1100" b="1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-3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Genel Durumu</a:t>
                      </a:r>
                      <a:endParaRPr lang="tr-TR" sz="1100" b="1" i="0" u="none" strike="noStrike" dirty="0" smtClean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341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utarı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Ödenek Durumları</a:t>
                      </a:r>
                      <a:endParaRPr lang="tr-TR" sz="1100" b="1" u="none" strike="noStrike" kern="1200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Merkezi Bütçe </a:t>
                      </a:r>
                      <a:r>
                        <a:rPr lang="tr-TR" sz="110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sv-SE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829810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Öz Kaynak </a:t>
                      </a:r>
                      <a:r>
                        <a:rPr lang="tr-TR" sz="110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346599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Dış Kredi </a:t>
                      </a:r>
                      <a:r>
                        <a:rPr lang="tr-TR" sz="110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4599300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İç Kredi </a:t>
                      </a:r>
                      <a:r>
                        <a:rPr lang="tr-TR" sz="110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921209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Hibe </a:t>
                      </a:r>
                      <a:r>
                        <a:rPr lang="tr-TR" sz="110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515065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sv-SE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0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2</a:t>
                      </a:r>
                      <a:r>
                        <a:rPr lang="sv-SE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Y</a:t>
                      </a:r>
                      <a:r>
                        <a:rPr lang="sv-SE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ılı</a:t>
                      </a:r>
                      <a:r>
                        <a:rPr lang="tr-TR" sz="110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Toplam Ödeneği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3682363"/>
                  </a:ext>
                </a:extLst>
              </a:tr>
              <a:tr h="25006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</a:t>
                      </a:r>
                      <a:r>
                        <a:rPr lang="tr-TR" sz="11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arasal</a:t>
                      </a:r>
                      <a:r>
                        <a:rPr lang="tr-TR" sz="1100" b="1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Gerçekleşme</a:t>
                      </a:r>
                      <a:r>
                        <a:rPr lang="tr-TR" sz="11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Önceki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Y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ıllar Harcamaları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2022 Yılı Harcaması (TL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4146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 Harcama</a:t>
                      </a:r>
                      <a:endParaRPr lang="tr-TR" sz="1100" u="none" strike="noStrike" kern="1200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arasal Gerçekleşme (Yüzde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32601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Fiziki Gerçekleşme 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aşlanamaya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hale 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şamasındaki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roje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Yarım 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alan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roje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Devam Eden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roje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iten 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</a:t>
                      </a:r>
                      <a:r>
                        <a:rPr lang="tr-TR" sz="110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</a:tbl>
          </a:graphicData>
        </a:graphic>
      </p:graphicFrame>
      <p:sp>
        <p:nvSpPr>
          <p:cNvPr id="7" name="Yuvarlatılmış Dikdörtgen 6"/>
          <p:cNvSpPr/>
          <p:nvPr/>
        </p:nvSpPr>
        <p:spPr>
          <a:xfrm>
            <a:off x="1" y="44624"/>
            <a:ext cx="9144000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888">
              <a:buClr>
                <a:srgbClr val="FF6600"/>
              </a:buClr>
              <a:defRPr/>
            </a:pPr>
            <a:r>
              <a:rPr lang="tr-TR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Yatırımcı Kuruluş Dönem </a:t>
            </a:r>
            <a:r>
              <a:rPr lang="tr-TR" sz="2000" b="1" kern="0" dirty="0" smtClean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Raporu</a:t>
            </a:r>
          </a:p>
          <a:p>
            <a:pPr algn="ctr" defTabSz="877888">
              <a:buClr>
                <a:srgbClr val="FF6600"/>
              </a:buClr>
              <a:defRPr/>
            </a:pPr>
            <a:r>
              <a:rPr lang="tr-TR" sz="2000" b="1" kern="0" dirty="0" smtClean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(2022 III. DÖNEM)</a:t>
            </a:r>
            <a:endParaRPr lang="tr-TR" sz="2000" b="1" kern="0" dirty="0">
              <a:solidFill>
                <a:srgbClr val="FFFFFF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graphicFrame>
        <p:nvGraphicFramePr>
          <p:cNvPr id="8" name="Tablo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1698594"/>
              </p:ext>
            </p:extLst>
          </p:nvPr>
        </p:nvGraphicFramePr>
        <p:xfrm>
          <a:off x="78932" y="6093277"/>
          <a:ext cx="8948301" cy="3559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9483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55982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1" u="none" strike="noStrike" dirty="0" smtClean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UYARI:  </a:t>
                      </a:r>
                      <a:r>
                        <a:rPr lang="tr-TR" sz="1000" b="1" i="0" u="none" strike="noStrike" baseline="0" dirty="0" smtClean="0">
                          <a:solidFill>
                            <a:srgbClr val="00B0F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ları için; Tarım, Madencilik, İmalat, Ulaştırma, Turizm, Konut,  Eğitim, Sağlık, Diğer Kamu Hizmetleri kullanılacaktır. Kurumların görev alanlarına göre başlıklara sektör adlarını eklemeleri gerekmektedir.</a:t>
                      </a:r>
                      <a:endParaRPr lang="tr-TR" sz="750" b="1" i="0" u="none" strike="noStrike" dirty="0">
                        <a:solidFill>
                          <a:srgbClr val="00B0F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7646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Yuvarlatılmış Dikdörtgen 12"/>
          <p:cNvSpPr/>
          <p:nvPr/>
        </p:nvSpPr>
        <p:spPr>
          <a:xfrm>
            <a:off x="0" y="47843"/>
            <a:ext cx="9143999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tr-TR" sz="2000" b="1" kern="0" dirty="0" smtClean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Yatırım </a:t>
            </a: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rojeleri İzleme </a:t>
            </a:r>
            <a:r>
              <a:rPr lang="tr-TR" sz="2000" b="1" kern="0" dirty="0" smtClean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Raporu</a:t>
            </a:r>
          </a:p>
          <a:p>
            <a:pPr lvl="0" algn="ctr">
              <a:defRPr/>
            </a:pPr>
            <a:r>
              <a:rPr lang="tr-TR" sz="2000" b="1" kern="0" dirty="0" smtClean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(2022 III. DÖNEM)</a:t>
            </a:r>
            <a:endParaRPr lang="tr-TR" sz="2000" b="1" kern="0" dirty="0">
              <a:solidFill>
                <a:prstClr val="white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graphicFrame>
        <p:nvGraphicFramePr>
          <p:cNvPr id="3" name="Tablo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0315371"/>
              </p:ext>
            </p:extLst>
          </p:nvPr>
        </p:nvGraphicFramePr>
        <p:xfrm>
          <a:off x="107500" y="879429"/>
          <a:ext cx="8928995" cy="5454688"/>
        </p:xfrm>
        <a:graphic>
          <a:graphicData uri="http://schemas.openxmlformats.org/drawingml/2006/table">
            <a:tbl>
              <a:tblPr/>
              <a:tblGrid>
                <a:gridCol w="669400">
                  <a:extLst>
                    <a:ext uri="{9D8B030D-6E8A-4147-A177-3AD203B41FA5}">
                      <a16:colId xmlns:a16="http://schemas.microsoft.com/office/drawing/2014/main" val="3919883195"/>
                    </a:ext>
                  </a:extLst>
                </a:gridCol>
                <a:gridCol w="1799699">
                  <a:extLst>
                    <a:ext uri="{9D8B030D-6E8A-4147-A177-3AD203B41FA5}">
                      <a16:colId xmlns:a16="http://schemas.microsoft.com/office/drawing/2014/main" val="1179629219"/>
                    </a:ext>
                  </a:extLst>
                </a:gridCol>
                <a:gridCol w="685860">
                  <a:extLst>
                    <a:ext uri="{9D8B030D-6E8A-4147-A177-3AD203B41FA5}">
                      <a16:colId xmlns:a16="http://schemas.microsoft.com/office/drawing/2014/main" val="443924026"/>
                    </a:ext>
                  </a:extLst>
                </a:gridCol>
                <a:gridCol w="806573">
                  <a:extLst>
                    <a:ext uri="{9D8B030D-6E8A-4147-A177-3AD203B41FA5}">
                      <a16:colId xmlns:a16="http://schemas.microsoft.com/office/drawing/2014/main" val="1995520928"/>
                    </a:ext>
                  </a:extLst>
                </a:gridCol>
                <a:gridCol w="819375">
                  <a:extLst>
                    <a:ext uri="{9D8B030D-6E8A-4147-A177-3AD203B41FA5}">
                      <a16:colId xmlns:a16="http://schemas.microsoft.com/office/drawing/2014/main" val="3450176581"/>
                    </a:ext>
                  </a:extLst>
                </a:gridCol>
                <a:gridCol w="790112">
                  <a:extLst>
                    <a:ext uri="{9D8B030D-6E8A-4147-A177-3AD203B41FA5}">
                      <a16:colId xmlns:a16="http://schemas.microsoft.com/office/drawing/2014/main" val="3287352556"/>
                    </a:ext>
                  </a:extLst>
                </a:gridCol>
                <a:gridCol w="795598">
                  <a:extLst>
                    <a:ext uri="{9D8B030D-6E8A-4147-A177-3AD203B41FA5}">
                      <a16:colId xmlns:a16="http://schemas.microsoft.com/office/drawing/2014/main" val="314582360"/>
                    </a:ext>
                  </a:extLst>
                </a:gridCol>
                <a:gridCol w="618163">
                  <a:extLst>
                    <a:ext uri="{9D8B030D-6E8A-4147-A177-3AD203B41FA5}">
                      <a16:colId xmlns:a16="http://schemas.microsoft.com/office/drawing/2014/main" val="3090607061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1969679353"/>
                    </a:ext>
                  </a:extLst>
                </a:gridCol>
                <a:gridCol w="846896">
                  <a:extLst>
                    <a:ext uri="{9D8B030D-6E8A-4147-A177-3AD203B41FA5}">
                      <a16:colId xmlns:a16="http://schemas.microsoft.com/office/drawing/2014/main" val="3705440588"/>
                    </a:ext>
                  </a:extLst>
                </a:gridCol>
                <a:gridCol w="521255">
                  <a:extLst>
                    <a:ext uri="{9D8B030D-6E8A-4147-A177-3AD203B41FA5}">
                      <a16:colId xmlns:a16="http://schemas.microsoft.com/office/drawing/2014/main" val="3073909584"/>
                    </a:ext>
                  </a:extLst>
                </a:gridCol>
              </a:tblGrid>
              <a:tr h="717366">
                <a:tc gridSpan="11">
                  <a:txBody>
                    <a:bodyPr/>
                    <a:lstStyle/>
                    <a:p>
                      <a:pPr algn="ctr" fontAlgn="ctr"/>
                      <a:r>
                        <a:rPr lang="nn-NO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İLYAS YATIRIM TAKİP FORMU (EK-1)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9304291"/>
                  </a:ext>
                </a:extLst>
              </a:tr>
              <a:tr h="1285844"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Numarası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Ad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Yeri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Tutar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Önceki Yıllar Harcamas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 </a:t>
                      </a:r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ılı Ödeneği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önem Harcamas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ziki </a:t>
                      </a:r>
                      <a:endParaRPr lang="tr-TR" sz="1000" b="1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r>
                        <a:rPr lang="tr-TR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ç</a:t>
                      </a:r>
                      <a:r>
                        <a:rPr lang="tr-T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</a:t>
                      </a:r>
                    </a:p>
                    <a:p>
                      <a:pPr algn="ctr" fontAlgn="ctr"/>
                      <a:r>
                        <a:rPr lang="tr-T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anı </a:t>
                      </a:r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%)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kdi </a:t>
                      </a:r>
                      <a:r>
                        <a:rPr lang="tr-TR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ç</a:t>
                      </a:r>
                      <a:r>
                        <a:rPr lang="tr-T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</a:t>
                      </a:r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anı (%)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Durumu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Fotoğrafı Sisteme Yüklendi mi?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2638658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869225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84592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9335656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1411968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5712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46789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9674331"/>
                  </a:ext>
                </a:extLst>
              </a:tr>
              <a:tr h="51434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tr-T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LAM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94083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7766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5" name="Tablo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9313491"/>
              </p:ext>
            </p:extLst>
          </p:nvPr>
        </p:nvGraphicFramePr>
        <p:xfrm>
          <a:off x="107504" y="1007603"/>
          <a:ext cx="4320480" cy="5097438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19697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507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9278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Adı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No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 smtClean="0">
                          <a:effectLst/>
                        </a:rPr>
                        <a:t>Sektörü</a:t>
                      </a:r>
                      <a:r>
                        <a:rPr lang="tr-TR" sz="1050" b="1" u="none" strike="noStrike" baseline="0" dirty="0" smtClean="0">
                          <a:effectLst/>
                        </a:rPr>
                        <a:t> ve Alt Sektörü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</a:t>
                      </a:r>
                      <a:r>
                        <a:rPr lang="tr-TR" sz="1050" b="1" u="none" strike="noStrike" dirty="0" smtClean="0">
                          <a:effectLst/>
                        </a:rPr>
                        <a:t>Yeri (</a:t>
                      </a:r>
                      <a:r>
                        <a:rPr lang="tr-TR" sz="1050" b="1" u="none" strike="noStrike" dirty="0">
                          <a:effectLst/>
                        </a:rPr>
                        <a:t>İlçe)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Başlama - Bitiş Tarihi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</a:t>
                      </a:r>
                      <a:r>
                        <a:rPr lang="tr-TR" sz="1050" b="1" u="none" strike="noStrike" dirty="0" smtClean="0">
                          <a:effectLst/>
                        </a:rPr>
                        <a:t>Bedeli (</a:t>
                      </a:r>
                      <a:r>
                        <a:rPr lang="tr-TR" sz="1050" b="1" u="none" strike="noStrike" dirty="0">
                          <a:effectLst/>
                        </a:rPr>
                        <a:t>TL)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954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Önceki Yıllar </a:t>
                      </a:r>
                      <a:r>
                        <a:rPr lang="tr-TR" sz="1050" b="1" u="none" strike="noStrike" kern="1200" dirty="0" smtClean="0">
                          <a:effectLst/>
                        </a:rPr>
                        <a:t>Harcamaları (</a:t>
                      </a:r>
                      <a:r>
                        <a:rPr lang="tr-TR" sz="1050" b="1" u="none" strike="noStrike" kern="1200" dirty="0">
                          <a:effectLst/>
                        </a:rPr>
                        <a:t>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954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2 Yıl İçi Harcama </a:t>
                      </a:r>
                      <a:r>
                        <a:rPr lang="tr-TR" sz="1050" b="1" u="none" strike="noStrike" kern="1200" dirty="0" smtClean="0">
                          <a:effectLst/>
                        </a:rPr>
                        <a:t>(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 smtClean="0">
                          <a:effectLst/>
                        </a:rPr>
                        <a:t>2022</a:t>
                      </a:r>
                      <a:r>
                        <a:rPr lang="tr-TR" sz="1050" b="1" u="none" strike="noStrike" kern="1200" baseline="0" dirty="0" smtClean="0">
                          <a:effectLst/>
                        </a:rPr>
                        <a:t> </a:t>
                      </a:r>
                      <a:r>
                        <a:rPr lang="tr-TR" sz="1050" b="1" u="none" strike="noStrike" kern="1200" dirty="0" smtClean="0">
                          <a:effectLst/>
                        </a:rPr>
                        <a:t>Yılı Ödeneği (</a:t>
                      </a:r>
                      <a:r>
                        <a:rPr lang="tr-TR" sz="1050" b="1" u="none" strike="noStrike" kern="1200" dirty="0">
                          <a:effectLst/>
                        </a:rPr>
                        <a:t>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Nakdi </a:t>
                      </a:r>
                      <a:r>
                        <a:rPr lang="tr-TR" sz="1050" b="1" u="none" strike="noStrike" kern="1200" dirty="0" smtClean="0">
                          <a:effectLst/>
                        </a:rPr>
                        <a:t>Gerçekleşme (%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Fiziki </a:t>
                      </a:r>
                      <a:r>
                        <a:rPr lang="tr-TR" sz="1050" b="1" u="none" strike="noStrike" kern="1200" dirty="0" smtClean="0">
                          <a:effectLst/>
                        </a:rPr>
                        <a:t>Gerçekleşme (%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678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Projenin Bugünkü </a:t>
                      </a:r>
                      <a:r>
                        <a:rPr lang="tr-TR" sz="1050" b="1" u="none" strike="noStrike" kern="1200" dirty="0" smtClean="0">
                          <a:effectLst/>
                        </a:rPr>
                        <a:t>Durumu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93951">
                <a:tc grid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tr-TR" sz="1050" b="1" u="none" strike="noStrike" kern="1200" dirty="0" smtClean="0">
                          <a:effectLst/>
                        </a:rPr>
                        <a:t>Proje</a:t>
                      </a:r>
                      <a:r>
                        <a:rPr lang="tr-TR" sz="1050" b="1" u="none" strike="noStrike" kern="1200" baseline="0" dirty="0" smtClean="0">
                          <a:effectLst/>
                        </a:rPr>
                        <a:t> Özet Bilgisi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478608">
                <a:tc gridSpan="2">
                  <a:txBody>
                    <a:bodyPr/>
                    <a:lstStyle/>
                    <a:p>
                      <a:pPr algn="just" fontAlgn="b"/>
                      <a:endParaRPr lang="tr-TR" sz="12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7" name="Tablo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2118078"/>
              </p:ext>
            </p:extLst>
          </p:nvPr>
        </p:nvGraphicFramePr>
        <p:xfrm>
          <a:off x="4618484" y="1007601"/>
          <a:ext cx="4320480" cy="5097441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4320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60797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6644">
                <a:tc>
                  <a:txBody>
                    <a:bodyPr/>
                    <a:lstStyle/>
                    <a:p>
                      <a:pPr algn="ctr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Metin kutusu 13"/>
          <p:cNvSpPr txBox="1"/>
          <p:nvPr/>
        </p:nvSpPr>
        <p:spPr>
          <a:xfrm>
            <a:off x="5220072" y="2073661"/>
            <a:ext cx="3024336" cy="58477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dirty="0" smtClean="0">
                <a:solidFill>
                  <a:schemeClr val="bg1"/>
                </a:solidFill>
              </a:rPr>
              <a:t>PROJEYE AİT GÖRSEL UNSUR EKLEYİNİZ</a:t>
            </a:r>
            <a:endParaRPr lang="tr-TR" sz="1600" dirty="0">
              <a:solidFill>
                <a:schemeClr val="bg1"/>
              </a:solidFill>
            </a:endParaRPr>
          </a:p>
        </p:txBody>
      </p:sp>
      <p:graphicFrame>
        <p:nvGraphicFramePr>
          <p:cNvPr id="20" name="Tablo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3022136"/>
              </p:ext>
            </p:extLst>
          </p:nvPr>
        </p:nvGraphicFramePr>
        <p:xfrm>
          <a:off x="107504" y="6165304"/>
          <a:ext cx="8831460" cy="2880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8314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UYARI: BU SLAYT</a:t>
                      </a:r>
                      <a:r>
                        <a:rPr lang="tr-TR" sz="1000" b="1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HER BİR PROJE İÇİN ÇOĞALTINIZ.</a:t>
                      </a:r>
                      <a:endParaRPr lang="tr-TR" sz="75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6" name="Yuvarlatılmış Dikdörtgen 15"/>
          <p:cNvSpPr/>
          <p:nvPr/>
        </p:nvSpPr>
        <p:spPr>
          <a:xfrm>
            <a:off x="1" y="44624"/>
            <a:ext cx="9134474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rojeler İtibariyle Bilgi , Açıklama ve Görseller</a:t>
            </a:r>
          </a:p>
        </p:txBody>
      </p:sp>
      <p:sp>
        <p:nvSpPr>
          <p:cNvPr id="19" name="Metin kutusu 18"/>
          <p:cNvSpPr txBox="1"/>
          <p:nvPr/>
        </p:nvSpPr>
        <p:spPr>
          <a:xfrm>
            <a:off x="5220072" y="4140369"/>
            <a:ext cx="3024336" cy="58477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dirty="0" smtClean="0">
                <a:solidFill>
                  <a:schemeClr val="bg1"/>
                </a:solidFill>
              </a:rPr>
              <a:t>PROJEYE AİT GÖRSEL UNSUR EKLEYİNİZ</a:t>
            </a:r>
            <a:endParaRPr lang="tr-TR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893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19472" y="151385"/>
            <a:ext cx="9144000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0" name="Tablo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030876"/>
              </p:ext>
            </p:extLst>
          </p:nvPr>
        </p:nvGraphicFramePr>
        <p:xfrm>
          <a:off x="107504" y="1052737"/>
          <a:ext cx="9036496" cy="5400867"/>
        </p:xfrm>
        <a:graphic>
          <a:graphicData uri="http://schemas.openxmlformats.org/drawingml/2006/table">
            <a:tbl>
              <a:tblPr/>
              <a:tblGrid>
                <a:gridCol w="90364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e Başlanamama </a:t>
                      </a:r>
                      <a:r>
                        <a:rPr lang="tr-TR" sz="1200" b="1" i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ve</a:t>
                      </a:r>
                      <a:r>
                        <a:rPr lang="tr-TR" sz="1200" b="1" i="0" u="none" strike="noStrike" baseline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Tamamlanamama </a:t>
                      </a:r>
                      <a:r>
                        <a:rPr lang="tr-TR" sz="1200" b="1" i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Nedenleri</a:t>
                      </a:r>
                      <a:endParaRPr lang="tr-TR" sz="1200" b="1" i="0" u="none" strike="noStrike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</a:t>
                      </a:r>
                      <a:endParaRPr lang="tr-TR" sz="1200" b="0" i="0" u="none" strike="noStrike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Çözümlenmesi İstenen Sorun ve Darboğazlar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orun ve Darboğaz Nedenleri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lınması İstenen Önlemler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190511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ctr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 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7568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200" b="1" i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</a:t>
                      </a:r>
                      <a:r>
                        <a:rPr lang="tr-TR" sz="1200" b="1" i="0" u="none" strike="noStrike" baseline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Gerektiren Kurum/Kuruluşları</a:t>
                      </a:r>
                      <a:endParaRPr lang="tr-TR" sz="1200" b="0" i="0" u="none" strike="noStrike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0" i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.</a:t>
                      </a:r>
                      <a:endParaRPr lang="tr-TR" sz="1200" b="0" i="0" u="none" strike="noStrike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1" name="Dikdörtgen 10"/>
          <p:cNvSpPr/>
          <p:nvPr/>
        </p:nvSpPr>
        <p:spPr>
          <a:xfrm>
            <a:off x="323528" y="300271"/>
            <a:ext cx="7932818" cy="3835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</a:pPr>
            <a:r>
              <a:rPr lang="tr-TR" b="1" kern="0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orunlar, İhtiyaçlar ve Koordinasyon Gerektiren Hususlar</a:t>
            </a:r>
            <a:endParaRPr lang="tr-TR" b="1" kern="0" dirty="0">
              <a:solidFill>
                <a:schemeClr val="bg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11 Metin kutusu"/>
          <p:cNvSpPr txBox="1"/>
          <p:nvPr/>
        </p:nvSpPr>
        <p:spPr>
          <a:xfrm>
            <a:off x="662382" y="1340768"/>
            <a:ext cx="3929090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fontAlgn="t"/>
            <a:r>
              <a:rPr lang="tr-TR" sz="900" b="1" dirty="0" smtClean="0">
                <a:solidFill>
                  <a:srgbClr val="FF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NOT: İlgili proje  numarası ve adı belirtilmesi gerekmektedir.</a:t>
            </a:r>
            <a:endParaRPr lang="tr-TR" sz="900" b="1" dirty="0">
              <a:solidFill>
                <a:srgbClr val="FF0000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Metin kutusu 12"/>
          <p:cNvSpPr txBox="1"/>
          <p:nvPr/>
        </p:nvSpPr>
        <p:spPr>
          <a:xfrm>
            <a:off x="8047364" y="314381"/>
            <a:ext cx="753852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 smtClean="0"/>
              <a:t>EK-4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202122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35496" y="165721"/>
            <a:ext cx="9108504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Dikdörtgen 10"/>
          <p:cNvSpPr/>
          <p:nvPr/>
        </p:nvSpPr>
        <p:spPr>
          <a:xfrm>
            <a:off x="943163" y="328717"/>
            <a:ext cx="59766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tr-TR" b="1" kern="0" dirty="0" smtClean="0">
                <a:solidFill>
                  <a:prstClr val="white"/>
                </a:solidFill>
                <a:latin typeface="Arial" charset="0"/>
              </a:rPr>
              <a:t>Sektörler ve Alt Sektörleri</a:t>
            </a:r>
            <a:endParaRPr lang="tr-TR" b="1" kern="0" dirty="0">
              <a:solidFill>
                <a:prstClr val="white"/>
              </a:solidFill>
              <a:latin typeface="Arial" charset="0"/>
            </a:endParaRPr>
          </a:p>
        </p:txBody>
      </p:sp>
      <p:graphicFrame>
        <p:nvGraphicFramePr>
          <p:cNvPr id="13" name="12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3282298"/>
              </p:ext>
            </p:extLst>
          </p:nvPr>
        </p:nvGraphicFramePr>
        <p:xfrm>
          <a:off x="428596" y="1071546"/>
          <a:ext cx="2214578" cy="5318144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571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573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1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 Tarım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ulam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Bitkisel Ürün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ayvancılı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u Ürün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Ormancılı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2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 Madencilik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Madencili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ömü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am Petrol ve Tabii Gaz Üretim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Metal Dışı Maden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iğer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3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 İmalat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Gıd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Tütün ve </a:t>
                      </a:r>
                      <a:r>
                        <a:rPr lang="tr-TR" sz="900" u="none" strike="noStrike" dirty="0" smtClean="0">
                          <a:latin typeface="+mn-lt"/>
                        </a:rPr>
                        <a:t>Mamul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okuma ve Giyim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Basım Sanayi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imy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emir-Çeli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Elektriksiz Makine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Elektrikli Makin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emiryolu Taşıt Sanayi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tandardizasyon ve Kalit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4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  Enerji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Termik Santral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 smtClean="0">
                          <a:latin typeface="+mn-lt"/>
                        </a:rPr>
                        <a:t>Hidroelektrik </a:t>
                      </a:r>
                      <a:r>
                        <a:rPr lang="tr-TR" sz="900" u="none" strike="noStrike" dirty="0">
                          <a:latin typeface="+mn-lt"/>
                        </a:rPr>
                        <a:t>Santral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İletim Tesis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ağıtım Tesis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Şehir Şebek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öy Şebek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İşletme Grubu Yatırımları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Makine ve Techizat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Çeşitli Etütler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iğer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3"/>
                  </a:ext>
                </a:extLst>
              </a:tr>
            </a:tbl>
          </a:graphicData>
        </a:graphic>
      </p:graphicFrame>
      <p:graphicFrame>
        <p:nvGraphicFramePr>
          <p:cNvPr id="15" name="14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5017724"/>
              </p:ext>
            </p:extLst>
          </p:nvPr>
        </p:nvGraphicFramePr>
        <p:xfrm>
          <a:off x="3000364" y="1071546"/>
          <a:ext cx="2214578" cy="5375129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32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817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5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 Ulaştırma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emir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eniz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va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ara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oru Hatt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Kent İçi </a:t>
                      </a:r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Ulaşı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berleşm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Radyo Televizyon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Otoyolla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6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Turizm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uriz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6302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7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Konut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onut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8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Eğitim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İlköğretim ve Gen. Ortaöğre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Mesleki ve Teknik Eği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Yüksek Öğre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ültü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ençlik ve Beden Eğitimi Spo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9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Sağlık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Sağlık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639344">
                <a:tc gridSpan="2"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</a:tbl>
          </a:graphicData>
        </a:graphic>
      </p:graphicFrame>
      <p:graphicFrame>
        <p:nvGraphicFramePr>
          <p:cNvPr id="16" name="15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3627306"/>
              </p:ext>
            </p:extLst>
          </p:nvPr>
        </p:nvGraphicFramePr>
        <p:xfrm>
          <a:off x="5429256" y="1071546"/>
          <a:ext cx="2815152" cy="5381794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865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286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2154">
                <a:tc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Diğer</a:t>
                      </a:r>
                      <a:r>
                        <a:rPr lang="tr-TR" sz="900" b="1" i="0" u="none" strike="noStrike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 Kamu Hizmetleri (DKH-İktisadı+DKH-Sosyal)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10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DKH-İktisadi</a:t>
                      </a:r>
                      <a:endParaRPr lang="tr-TR" sz="900" b="0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enel İdar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üvenlik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Adalet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rita ve Tapu Kadastro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icari Hizmetle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üzenleyici ve Denetleyici Kur.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11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DKH-Sosyal</a:t>
                      </a:r>
                      <a:endParaRPr lang="tr-TR" sz="900" b="0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İçme Suyu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Kanalizasyon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Kırsal Planla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elediye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Yerleşme-Şehirleşm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Çevr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Esnaf Sanatkar KSS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eknolojik Araştırma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Sosyal Hizmetler ve Yardımla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Afetle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273360">
                <a:tc gridSpan="2"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  <p:sp>
        <p:nvSpPr>
          <p:cNvPr id="14" name="Metin kutusu 13"/>
          <p:cNvSpPr txBox="1"/>
          <p:nvPr/>
        </p:nvSpPr>
        <p:spPr>
          <a:xfrm>
            <a:off x="8028447" y="333933"/>
            <a:ext cx="763789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 smtClean="0"/>
              <a:t>EK-5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4060833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 3"/>
          <p:cNvGrpSpPr/>
          <p:nvPr/>
        </p:nvGrpSpPr>
        <p:grpSpPr>
          <a:xfrm>
            <a:off x="35496" y="148883"/>
            <a:ext cx="9108504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Dikdörtgen 10"/>
          <p:cNvSpPr/>
          <p:nvPr/>
        </p:nvSpPr>
        <p:spPr>
          <a:xfrm>
            <a:off x="985787" y="329361"/>
            <a:ext cx="74746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tr-TR" b="1" kern="0" dirty="0">
                <a:solidFill>
                  <a:prstClr val="white"/>
                </a:solidFill>
                <a:latin typeface="Arial" charset="0"/>
              </a:rPr>
              <a:t>Koordinasyon Kurulu </a:t>
            </a:r>
            <a:r>
              <a:rPr lang="tr-TR" b="1" kern="0" dirty="0" smtClean="0">
                <a:solidFill>
                  <a:prstClr val="white"/>
                </a:solidFill>
                <a:latin typeface="Arial" charset="0"/>
              </a:rPr>
              <a:t>İçin </a:t>
            </a:r>
            <a:r>
              <a:rPr lang="tr-TR" b="1" kern="0" dirty="0">
                <a:solidFill>
                  <a:prstClr val="white"/>
                </a:solidFill>
                <a:latin typeface="Arial" charset="0"/>
              </a:rPr>
              <a:t>İletişim Bilgileri</a:t>
            </a:r>
          </a:p>
        </p:txBody>
      </p:sp>
      <p:graphicFrame>
        <p:nvGraphicFramePr>
          <p:cNvPr id="2" name="Tablo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3053250"/>
              </p:ext>
            </p:extLst>
          </p:nvPr>
        </p:nvGraphicFramePr>
        <p:xfrm>
          <a:off x="395536" y="916735"/>
          <a:ext cx="8344734" cy="5457143"/>
        </p:xfrm>
        <a:graphic>
          <a:graphicData uri="http://schemas.openxmlformats.org/drawingml/2006/table">
            <a:tbl>
              <a:tblPr/>
              <a:tblGrid>
                <a:gridCol w="18151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29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0040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URUM AD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00" b="0" i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40">
                <a:tc gridSpan="2"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L KOORDİNASYON KURULU BİLGİ VE İLETİŞİ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2829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 Hazırlayan </a:t>
                      </a:r>
                      <a:r>
                        <a:rPr lang="tr-TR" sz="1000" b="1" i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ersonel</a:t>
                      </a:r>
                      <a:endParaRPr lang="tr-TR" sz="1000" b="1" i="0" u="none" strike="noStrike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01869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 </a:t>
                      </a:r>
                      <a:r>
                        <a:rPr lang="tr-TR" sz="1000" b="1" i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Hazırlayan Kurum Görevlisinin</a:t>
                      </a:r>
                      <a:r>
                        <a:rPr lang="tr-TR" sz="1000" b="1" i="0" u="none" strike="noStrike" baseline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İzinli Olduğu Hallerde Yerine Vekalet Edecek Personel</a:t>
                      </a:r>
                      <a:r>
                        <a:rPr lang="tr-TR" sz="1000" b="1" i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endParaRPr lang="tr-TR" sz="1000" b="1" i="0" u="none" strike="noStrike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48510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leri Onaylayan Kurum Yetkilisi/Müdürü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</a:tbl>
          </a:graphicData>
        </a:graphic>
      </p:graphicFrame>
      <p:sp>
        <p:nvSpPr>
          <p:cNvPr id="12" name="Metin kutusu 11"/>
          <p:cNvSpPr txBox="1"/>
          <p:nvPr/>
        </p:nvSpPr>
        <p:spPr>
          <a:xfrm>
            <a:off x="8047364" y="314381"/>
            <a:ext cx="773108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 smtClean="0"/>
              <a:t>EK-6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507466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heme/theme1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83</TotalTime>
  <Words>738</Words>
  <Application>Microsoft Office PowerPoint</Application>
  <PresentationFormat>Ekran Gösterisi (4:3)</PresentationFormat>
  <Paragraphs>326</Paragraphs>
  <Slides>7</Slides>
  <Notes>2</Notes>
  <HiddenSlides>0</HiddenSlides>
  <MMClips>0</MMClips>
  <ScaleCrop>false</ScaleCrop>
  <HeadingPairs>
    <vt:vector size="6" baseType="variant">
      <vt:variant>
        <vt:lpstr>Kullanılan Yazı Tipleri</vt:lpstr>
      </vt:variant>
      <vt:variant>
        <vt:i4>6</vt:i4>
      </vt:variant>
      <vt:variant>
        <vt:lpstr>Tema</vt:lpstr>
      </vt:variant>
      <vt:variant>
        <vt:i4>1</vt:i4>
      </vt:variant>
      <vt:variant>
        <vt:lpstr>Slayt Başlıkları</vt:lpstr>
      </vt:variant>
      <vt:variant>
        <vt:i4>7</vt:i4>
      </vt:variant>
    </vt:vector>
  </HeadingPairs>
  <TitlesOfParts>
    <vt:vector size="14" baseType="lpstr">
      <vt:lpstr>Arial</vt:lpstr>
      <vt:lpstr>Arial Tur</vt:lpstr>
      <vt:lpstr>Calibri</vt:lpstr>
      <vt:lpstr>Segoe UI</vt:lpstr>
      <vt:lpstr>Segoe UI Semibold</vt:lpstr>
      <vt:lpstr>Times New Roman</vt:lpstr>
      <vt:lpstr>Ofis Teması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SONGULKOZBERI</dc:creator>
  <cp:lastModifiedBy>Vahit COMART</cp:lastModifiedBy>
  <cp:revision>229</cp:revision>
  <cp:lastPrinted>2017-09-05T10:25:42Z</cp:lastPrinted>
  <dcterms:created xsi:type="dcterms:W3CDTF">2013-12-10T10:55:21Z</dcterms:created>
  <dcterms:modified xsi:type="dcterms:W3CDTF">2022-09-02T05:24:12Z</dcterms:modified>
</cp:coreProperties>
</file>